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3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521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521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Weigel Stefan (PAR-EPS)" userId="fd3b2067-2981-4ad8-bf3a-d2e1004e4fa8" providerId="ADAL" clId="{7C341FDA-F550-4A31-96F0-5224A7B604F8}"/>
    <pc:docChg chg="undo custSel modSld">
      <pc:chgData name="Weigel Stefan (PAR-EPS)" userId="fd3b2067-2981-4ad8-bf3a-d2e1004e4fa8" providerId="ADAL" clId="{7C341FDA-F550-4A31-96F0-5224A7B604F8}" dt="2024-04-10T07:43:24.789" v="44" actId="1036"/>
      <pc:docMkLst>
        <pc:docMk/>
      </pc:docMkLst>
      <pc:sldChg chg="modSp mod setBg">
        <pc:chgData name="Weigel Stefan (PAR-EPS)" userId="fd3b2067-2981-4ad8-bf3a-d2e1004e4fa8" providerId="ADAL" clId="{7C341FDA-F550-4A31-96F0-5224A7B604F8}" dt="2024-04-10T07:43:24.789" v="44" actId="1036"/>
        <pc:sldMkLst>
          <pc:docMk/>
          <pc:sldMk cId="2624746743" sldId="403"/>
        </pc:sldMkLst>
        <pc:spChg chg="mod">
          <ac:chgData name="Weigel Stefan (PAR-EPS)" userId="fd3b2067-2981-4ad8-bf3a-d2e1004e4fa8" providerId="ADAL" clId="{7C341FDA-F550-4A31-96F0-5224A7B604F8}" dt="2024-04-10T07:37:54.133" v="6" actId="255"/>
          <ac:spMkLst>
            <pc:docMk/>
            <pc:sldMk cId="2624746743" sldId="403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7C341FDA-F550-4A31-96F0-5224A7B604F8}" dt="2024-04-10T07:37:57.829" v="7" actId="255"/>
          <ac:spMkLst>
            <pc:docMk/>
            <pc:sldMk cId="2624746743" sldId="403"/>
            <ac:spMk id="10" creationId="{00000000-0000-0000-0000-000000000000}"/>
          </ac:spMkLst>
        </pc:spChg>
        <pc:spChg chg="mod">
          <ac:chgData name="Weigel Stefan (PAR-EPS)" userId="fd3b2067-2981-4ad8-bf3a-d2e1004e4fa8" providerId="ADAL" clId="{7C341FDA-F550-4A31-96F0-5224A7B604F8}" dt="2024-04-10T07:39:29.569" v="22" actId="1076"/>
          <ac:spMkLst>
            <pc:docMk/>
            <pc:sldMk cId="2624746743" sldId="403"/>
            <ac:spMk id="11" creationId="{651B01CC-189F-4F80-9403-B5172C1D5545}"/>
          </ac:spMkLst>
        </pc:spChg>
        <pc:spChg chg="mod">
          <ac:chgData name="Weigel Stefan (PAR-EPS)" userId="fd3b2067-2981-4ad8-bf3a-d2e1004e4fa8" providerId="ADAL" clId="{7C341FDA-F550-4A31-96F0-5224A7B604F8}" dt="2024-04-10T07:43:24.789" v="44" actId="1036"/>
          <ac:spMkLst>
            <pc:docMk/>
            <pc:sldMk cId="2624746743" sldId="403"/>
            <ac:spMk id="12" creationId="{CC84096C-90C8-4FA1-B23B-21F5936F9AB5}"/>
          </ac:spMkLst>
        </pc:spChg>
        <pc:graphicFrameChg chg="mod">
          <ac:chgData name="Weigel Stefan (PAR-EPS)" userId="fd3b2067-2981-4ad8-bf3a-d2e1004e4fa8" providerId="ADAL" clId="{7C341FDA-F550-4A31-96F0-5224A7B604F8}" dt="2024-04-10T07:39:17.343" v="21"/>
          <ac:graphicFrameMkLst>
            <pc:docMk/>
            <pc:sldMk cId="2624746743" sldId="403"/>
            <ac:graphicFrameMk id="6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7C341FDA-F550-4A31-96F0-5224A7B604F8}" dt="2024-04-10T07:38:28.069" v="13"/>
          <ac:graphicFrameMkLst>
            <pc:docMk/>
            <pc:sldMk cId="2624746743" sldId="40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60CF309F-33B1-4BAC-8B91-ED4711BBD697}"/>
    <pc:docChg chg="delSld">
      <pc:chgData name="Meyer Raphael (PAR-ES)" userId="79615dfe-ed48-4e74-a40f-4f7b034c1c27" providerId="ADAL" clId="{60CF309F-33B1-4BAC-8B91-ED4711BBD697}" dt="2022-02-21T13:32:29.952" v="0" actId="47"/>
      <pc:docMkLst>
        <pc:docMk/>
      </pc:docMkLst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2617506047" sldId="405"/>
        </pc:sldMkLst>
      </pc:sldChg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943556213" sldId="406"/>
        </pc:sldMkLst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1214E44-7708-4760-9ACB-C0426B6F9754}"/>
    <pc:docChg chg="modSld">
      <pc:chgData name="Meyer Raphael (PAR-ES)" userId="79615dfe-ed48-4e74-a40f-4f7b034c1c27" providerId="ADAL" clId="{31214E44-7708-4760-9ACB-C0426B6F9754}" dt="2023-02-22T13:51:22.051" v="9" actId="20577"/>
      <pc:docMkLst>
        <pc:docMk/>
      </pc:docMkLst>
      <pc:sldChg chg="modSp mod">
        <pc:chgData name="Meyer Raphael (PAR-ES)" userId="79615dfe-ed48-4e74-a40f-4f7b034c1c27" providerId="ADAL" clId="{31214E44-7708-4760-9ACB-C0426B6F9754}" dt="2023-02-22T13:51:22.051" v="9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31214E44-7708-4760-9ACB-C0426B6F9754}" dt="2023-02-22T13:51:22.051" v="9" actId="20577"/>
          <ac:spMkLst>
            <pc:docMk/>
            <pc:sldMk cId="2624746743" sldId="403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Weigel Stefan (PAR-EPS)" userId="fd3b2067-2981-4ad8-bf3a-d2e1004e4fa8" providerId="ADAL" clId="{8314563C-3FF6-4F7A-A634-F0876587ECD7}"/>
    <pc:docChg chg="modSld">
      <pc:chgData name="Weigel Stefan (PAR-EPS)" userId="fd3b2067-2981-4ad8-bf3a-d2e1004e4fa8" providerId="ADAL" clId="{8314563C-3FF6-4F7A-A634-F0876587ECD7}" dt="2025-02-22T10:41:11.515" v="12" actId="27918"/>
      <pc:docMkLst>
        <pc:docMk/>
      </pc:docMkLst>
      <pc:sldChg chg="modSp mod">
        <pc:chgData name="Weigel Stefan (PAR-EPS)" userId="fd3b2067-2981-4ad8-bf3a-d2e1004e4fa8" providerId="ADAL" clId="{8314563C-3FF6-4F7A-A634-F0876587ECD7}" dt="2025-02-22T10:41:11.515" v="12" actId="27918"/>
        <pc:sldMkLst>
          <pc:docMk/>
          <pc:sldMk cId="2624746743" sldId="403"/>
        </pc:sldMkLst>
        <pc:spChg chg="mod">
          <ac:chgData name="Weigel Stefan (PAR-EPS)" userId="fd3b2067-2981-4ad8-bf3a-d2e1004e4fa8" providerId="ADAL" clId="{8314563C-3FF6-4F7A-A634-F0876587ECD7}" dt="2025-02-13T14:15:52.776" v="1" actId="20577"/>
          <ac:spMkLst>
            <pc:docMk/>
            <pc:sldMk cId="2624746743" sldId="40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8314563C-3FF6-4F7A-A634-F0876587ECD7}" dt="2025-02-22T10:40:39.341" v="8" actId="1076"/>
          <ac:spMkLst>
            <pc:docMk/>
            <pc:sldMk cId="2624746743" sldId="403"/>
            <ac:spMk id="4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A3013B2E-04DD-4EFF-B408-F08905F9136D}"/>
    <pc:docChg chg="modSld">
      <pc:chgData name="Weigel Stefan (PAR-EPS)" userId="fd3b2067-2981-4ad8-bf3a-d2e1004e4fa8" providerId="ADAL" clId="{A3013B2E-04DD-4EFF-B408-F08905F9136D}" dt="2024-02-28T13:19:39.908" v="127" actId="27918"/>
      <pc:docMkLst>
        <pc:docMk/>
      </pc:docMkLst>
      <pc:sldChg chg="addSp modSp mod">
        <pc:chgData name="Weigel Stefan (PAR-EPS)" userId="fd3b2067-2981-4ad8-bf3a-d2e1004e4fa8" providerId="ADAL" clId="{A3013B2E-04DD-4EFF-B408-F08905F9136D}" dt="2024-02-28T13:19:39.908" v="127" actId="27918"/>
        <pc:sldMkLst>
          <pc:docMk/>
          <pc:sldMk cId="2624746743" sldId="403"/>
        </pc:sldMkLst>
        <pc:spChg chg="mod">
          <ac:chgData name="Weigel Stefan (PAR-EPS)" userId="fd3b2067-2981-4ad8-bf3a-d2e1004e4fa8" providerId="ADAL" clId="{A3013B2E-04DD-4EFF-B408-F08905F9136D}" dt="2024-02-16T09:02:18.981" v="36" actId="20577"/>
          <ac:spMkLst>
            <pc:docMk/>
            <pc:sldMk cId="2624746743" sldId="403"/>
            <ac:spMk id="2" creationId="{00000000-0000-0000-0000-000000000000}"/>
          </ac:spMkLst>
        </pc:spChg>
        <pc:spChg chg="add mod">
          <ac:chgData name="Weigel Stefan (PAR-EPS)" userId="fd3b2067-2981-4ad8-bf3a-d2e1004e4fa8" providerId="ADAL" clId="{A3013B2E-04DD-4EFF-B408-F08905F9136D}" dt="2024-02-16T09:19:55.527" v="111"/>
          <ac:spMkLst>
            <pc:docMk/>
            <pc:sldMk cId="2624746743" sldId="403"/>
            <ac:spMk id="3" creationId="{BF9F3412-07EE-CF7C-181E-BA4B5DA84C5F}"/>
          </ac:spMkLst>
        </pc:spChg>
        <pc:graphicFrameChg chg="mod">
          <ac:chgData name="Weigel Stefan (PAR-EPS)" userId="fd3b2067-2981-4ad8-bf3a-d2e1004e4fa8" providerId="ADAL" clId="{A3013B2E-04DD-4EFF-B408-F08905F9136D}" dt="2024-02-16T09:20:40.077" v="114" actId="207"/>
          <ac:graphicFrameMkLst>
            <pc:docMk/>
            <pc:sldMk cId="2624746743" sldId="403"/>
            <ac:graphicFrameMk id="6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A3013B2E-04DD-4EFF-B408-F08905F9136D}" dt="2024-02-16T09:20:51.911" v="115" actId="207"/>
          <ac:graphicFrameMkLst>
            <pc:docMk/>
            <pc:sldMk cId="2624746743" sldId="40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92126384163587"/>
          <c:y val="9.1785047991304089E-2"/>
          <c:w val="0.78539345807650462"/>
          <c:h val="0.61373971229810032"/>
        </c:manualLayout>
      </c:layout>
      <c:doughnutChart>
        <c:varyColors val="1"/>
        <c:ser>
          <c:idx val="0"/>
          <c:order val="0"/>
          <c:tx>
            <c:strRef>
              <c:f>data!$G$2</c:f>
              <c:strCache>
                <c:ptCount val="1"/>
                <c:pt idx="0">
                  <c:v>Anteile an der Herkunft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3952-46D1-9677-A139C7E6AA68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3-3952-46D1-9677-A139C7E6AA68}"/>
              </c:ext>
            </c:extLst>
          </c:dPt>
          <c:dPt>
            <c:idx val="2"/>
            <c:bubble3D val="0"/>
            <c:spPr>
              <a:solidFill>
                <a:srgbClr val="A6A6A6"/>
              </a:solidFill>
            </c:spPr>
            <c:extLst>
              <c:ext xmlns:c16="http://schemas.microsoft.com/office/drawing/2014/chart" uri="{C3380CC4-5D6E-409C-BE32-E72D297353CC}">
                <c16:uniqueId val="{00000005-3952-46D1-9677-A139C7E6AA68}"/>
              </c:ext>
            </c:extLst>
          </c:dPt>
          <c:dPt>
            <c:idx val="3"/>
            <c:bubble3D val="0"/>
            <c:spPr>
              <a:solidFill>
                <a:srgbClr val="D9D9D9"/>
              </a:solidFill>
            </c:spPr>
            <c:extLst>
              <c:ext xmlns:c16="http://schemas.microsoft.com/office/drawing/2014/chart" uri="{C3380CC4-5D6E-409C-BE32-E72D297353CC}">
                <c16:uniqueId val="{00000007-3952-46D1-9677-A139C7E6AA68}"/>
              </c:ext>
            </c:extLst>
          </c:dPt>
          <c:dPt>
            <c:idx val="4"/>
            <c:bubble3D val="0"/>
            <c:spPr>
              <a:solidFill>
                <a:srgbClr val="F2F2F2"/>
              </a:solidFill>
            </c:spPr>
            <c:extLst>
              <c:ext xmlns:c16="http://schemas.microsoft.com/office/drawing/2014/chart" uri="{C3380CC4-5D6E-409C-BE32-E72D297353CC}">
                <c16:uniqueId val="{00000009-3952-46D1-9677-A139C7E6AA68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3952-46D1-9677-A139C7E6AA68}"/>
              </c:ext>
            </c:extLst>
          </c:dPt>
          <c:cat>
            <c:strRef>
              <c:f>data!$F$3:$F$4</c:f>
              <c:strCache>
                <c:ptCount val="2"/>
                <c:pt idx="0">
                  <c:v>Produktion und Bezug 16,7 Hz</c:v>
                </c:pt>
                <c:pt idx="1">
                  <c:v>Produktion und Bezug 50 Hz</c:v>
                </c:pt>
              </c:strCache>
            </c:strRef>
          </c:cat>
          <c:val>
            <c:numRef>
              <c:f>data!$G$3:$G$4</c:f>
              <c:numCache>
                <c:formatCode>0.0</c:formatCode>
                <c:ptCount val="2"/>
                <c:pt idx="0">
                  <c:v>2276.261</c:v>
                </c:pt>
                <c:pt idx="1">
                  <c:v>686.758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952-46D1-9677-A139C7E6AA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0.17796454662666183"/>
          <c:y val="0.76629281032793894"/>
          <c:w val="0.49508719062542816"/>
          <c:h val="7.3682892289042762E-2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536386806010843E-2"/>
          <c:y val="3.6938713342205089E-2"/>
          <c:w val="0.61248872300955337"/>
          <c:h val="0.62912756188397911"/>
        </c:manualLayout>
      </c:layout>
      <c:doughnutChart>
        <c:varyColors val="1"/>
        <c:ser>
          <c:idx val="0"/>
          <c:order val="0"/>
          <c:tx>
            <c:strRef>
              <c:f>data!$G$2</c:f>
              <c:strCache>
                <c:ptCount val="1"/>
                <c:pt idx="0">
                  <c:v>Anteile an der Verwendung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553D-45BB-97FB-0A84E0E6166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3-553D-45BB-97FB-0A84E0E6166D}"/>
              </c:ext>
            </c:extLst>
          </c:dPt>
          <c:dPt>
            <c:idx val="2"/>
            <c:bubble3D val="0"/>
            <c:spPr>
              <a:solidFill>
                <a:schemeClr val="accent4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553D-45BB-97FB-0A84E0E6166D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7-553D-45BB-97FB-0A84E0E6166D}"/>
              </c:ext>
            </c:extLst>
          </c:dPt>
          <c:dPt>
            <c:idx val="4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553D-45BB-97FB-0A84E0E6166D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553D-45BB-97FB-0A84E0E6166D}"/>
              </c:ext>
            </c:extLst>
          </c:dPt>
          <c:cat>
            <c:strRef>
              <c:f>data!$F$3:$F$7</c:f>
              <c:strCache>
                <c:ptCount val="5"/>
                <c:pt idx="0">
                  <c:v>Bahnbetrieb SBB</c:v>
                </c:pt>
                <c:pt idx="1">
                  <c:v>Bahnbetrieb andere</c:v>
                </c:pt>
                <c:pt idx="2">
                  <c:v>Eigenverbrauch und Verluste</c:v>
                </c:pt>
                <c:pt idx="3">
                  <c:v>Pumpenbetrieb</c:v>
                </c:pt>
                <c:pt idx="4">
                  <c:v>Marktverkauf und Austauschabgabe *</c:v>
                </c:pt>
              </c:strCache>
            </c:strRef>
          </c:cat>
          <c:val>
            <c:numRef>
              <c:f>data!$G$3:$G$7</c:f>
              <c:numCache>
                <c:formatCode>0.0</c:formatCode>
                <c:ptCount val="5"/>
                <c:pt idx="0">
                  <c:v>2043.8779999999999</c:v>
                </c:pt>
                <c:pt idx="1">
                  <c:v>270.11500000000001</c:v>
                </c:pt>
                <c:pt idx="2">
                  <c:v>120.003</c:v>
                </c:pt>
                <c:pt idx="3">
                  <c:v>35.104999999999997</c:v>
                </c:pt>
                <c:pt idx="4">
                  <c:v>493.908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53D-45BB-97FB-0A84E0E616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3.2264982233371736E-2"/>
          <c:y val="0.72713556662919787"/>
          <c:w val="0.563584481199919"/>
          <c:h val="0.18913668312847048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FD85F2E-7777-467D-97E5-7BF1990746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FD85F2E-7777-467D-97E5-7BF1990746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1DB2EFA-8FDF-4ECB-B7CD-4DF763EE788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lektrische Energie für den Bahnbetrieb im 2024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262606853"/>
              </p:ext>
            </p:extLst>
          </p:nvPr>
        </p:nvGraphicFramePr>
        <p:xfrm>
          <a:off x="1462357" y="1401635"/>
          <a:ext cx="4130834" cy="5286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1083225551"/>
              </p:ext>
            </p:extLst>
          </p:nvPr>
        </p:nvGraphicFramePr>
        <p:xfrm>
          <a:off x="6095999" y="1700808"/>
          <a:ext cx="5297291" cy="5157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955800" y="1520788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Anteile an der Herkunft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280788" y="1525442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Anteile an der Verwendung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51B01CC-189F-4F80-9403-B5172C1D5545}"/>
              </a:ext>
            </a:extLst>
          </p:cNvPr>
          <p:cNvSpPr txBox="1"/>
          <p:nvPr/>
        </p:nvSpPr>
        <p:spPr>
          <a:xfrm>
            <a:off x="6743011" y="6463556"/>
            <a:ext cx="1033074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* In Nettosicht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C84096C-90C8-4FA1-B23B-21F5936F9AB5}"/>
              </a:ext>
            </a:extLst>
          </p:cNvPr>
          <p:cNvSpPr txBox="1">
            <a:spLocks/>
          </p:cNvSpPr>
          <p:nvPr/>
        </p:nvSpPr>
        <p:spPr>
          <a:xfrm>
            <a:off x="9070058" y="5414630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BF9F3412-07EE-CF7C-181E-BA4B5DA84C5F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47467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aq6byWRyGrSbF6Vi1ZR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489E673-4B6C-4B14-B603-C02AECE69A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8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Elektrische Energie für den Bahnbetrieb im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ktrische Energie für den Bahnbetrieb im 2024.</dc:title>
  <dc:creator>Meyer Raphael (KOM-PGA-VSF)</dc:creator>
  <cp:lastModifiedBy>Stefan Weigel (PAR-EPS)</cp:lastModifiedBy>
  <cp:revision>59</cp:revision>
  <cp:lastPrinted>2024-02-16T09:19:57Z</cp:lastPrinted>
  <dcterms:created xsi:type="dcterms:W3CDTF">2020-09-30T11:00:09Z</dcterms:created>
  <dcterms:modified xsi:type="dcterms:W3CDTF">2025-02-24T12:57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